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247A56-ECD9-47F1-AB6C-B1AD597C31FC}" v="49" dt="2023-03-15T00:35:20.22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6" d="100"/>
          <a:sy n="116" d="100"/>
        </p:scale>
        <p:origin x="120" y="444"/>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63247A56-ECD9-47F1-AB6C-B1AD597C31FC}"/>
    <pc:docChg chg="modSld">
      <pc:chgData name="Roberto Gallardo" userId="49a044883f185952" providerId="LiveId" clId="{63247A56-ECD9-47F1-AB6C-B1AD597C31FC}" dt="2023-03-15T00:35:33.176" v="194" actId="1076"/>
      <pc:docMkLst>
        <pc:docMk/>
      </pc:docMkLst>
      <pc:sldChg chg="addSp modSp mod">
        <pc:chgData name="Roberto Gallardo" userId="49a044883f185952" providerId="LiveId" clId="{63247A56-ECD9-47F1-AB6C-B1AD597C31FC}" dt="2023-03-15T00:30:46.260" v="8" actId="1076"/>
        <pc:sldMkLst>
          <pc:docMk/>
          <pc:sldMk cId="1418533539" sldId="271"/>
        </pc:sldMkLst>
        <pc:picChg chg="add mod">
          <ac:chgData name="Roberto Gallardo" userId="49a044883f185952" providerId="LiveId" clId="{63247A56-ECD9-47F1-AB6C-B1AD597C31FC}" dt="2023-03-15T00:30:46.260" v="8" actId="1076"/>
          <ac:picMkLst>
            <pc:docMk/>
            <pc:sldMk cId="1418533539" sldId="271"/>
            <ac:picMk id="6" creationId="{2E3900F7-0BEE-192E-5340-ACD3DFE63A26}"/>
          </ac:picMkLst>
        </pc:picChg>
      </pc:sldChg>
      <pc:sldChg chg="addSp modSp mod">
        <pc:chgData name="Roberto Gallardo" userId="49a044883f185952" providerId="LiveId" clId="{63247A56-ECD9-47F1-AB6C-B1AD597C31FC}" dt="2023-03-15T00:32:26.681" v="66" actId="1076"/>
        <pc:sldMkLst>
          <pc:docMk/>
          <pc:sldMk cId="2124848710" sldId="281"/>
        </pc:sldMkLst>
        <pc:picChg chg="add mod">
          <ac:chgData name="Roberto Gallardo" userId="49a044883f185952" providerId="LiveId" clId="{63247A56-ECD9-47F1-AB6C-B1AD597C31FC}" dt="2023-03-15T00:32:26.681" v="66" actId="1076"/>
          <ac:picMkLst>
            <pc:docMk/>
            <pc:sldMk cId="2124848710" sldId="281"/>
            <ac:picMk id="6" creationId="{2DF64A04-50C2-0040-A4CA-532BD8B0E3D3}"/>
          </ac:picMkLst>
        </pc:picChg>
      </pc:sldChg>
      <pc:sldChg chg="addSp modSp mod">
        <pc:chgData name="Roberto Gallardo" userId="49a044883f185952" providerId="LiveId" clId="{63247A56-ECD9-47F1-AB6C-B1AD597C31FC}" dt="2023-03-15T00:32:40.426" v="74" actId="1076"/>
        <pc:sldMkLst>
          <pc:docMk/>
          <pc:sldMk cId="2028175529" sldId="282"/>
        </pc:sldMkLst>
        <pc:picChg chg="add mod">
          <ac:chgData name="Roberto Gallardo" userId="49a044883f185952" providerId="LiveId" clId="{63247A56-ECD9-47F1-AB6C-B1AD597C31FC}" dt="2023-03-15T00:32:40.426" v="74" actId="1076"/>
          <ac:picMkLst>
            <pc:docMk/>
            <pc:sldMk cId="2028175529" sldId="282"/>
            <ac:picMk id="7" creationId="{CC02B49A-FEB6-E184-5418-44F5A22994CC}"/>
          </ac:picMkLst>
        </pc:picChg>
      </pc:sldChg>
      <pc:sldChg chg="addSp modSp mod">
        <pc:chgData name="Roberto Gallardo" userId="49a044883f185952" providerId="LiveId" clId="{63247A56-ECD9-47F1-AB6C-B1AD597C31FC}" dt="2023-03-15T00:32:56.569" v="85" actId="1076"/>
        <pc:sldMkLst>
          <pc:docMk/>
          <pc:sldMk cId="1326517747" sldId="283"/>
        </pc:sldMkLst>
        <pc:picChg chg="add mod">
          <ac:chgData name="Roberto Gallardo" userId="49a044883f185952" providerId="LiveId" clId="{63247A56-ECD9-47F1-AB6C-B1AD597C31FC}" dt="2023-03-15T00:32:56.569" v="85" actId="1076"/>
          <ac:picMkLst>
            <pc:docMk/>
            <pc:sldMk cId="1326517747" sldId="283"/>
            <ac:picMk id="7" creationId="{B0D868FA-7898-8AE0-A893-F7E9DCF216CB}"/>
          </ac:picMkLst>
        </pc:picChg>
      </pc:sldChg>
      <pc:sldChg chg="addSp modSp mod">
        <pc:chgData name="Roberto Gallardo" userId="49a044883f185952" providerId="LiveId" clId="{63247A56-ECD9-47F1-AB6C-B1AD597C31FC}" dt="2023-03-15T00:33:14.344" v="98" actId="1076"/>
        <pc:sldMkLst>
          <pc:docMk/>
          <pc:sldMk cId="783739251" sldId="284"/>
        </pc:sldMkLst>
        <pc:picChg chg="add mod">
          <ac:chgData name="Roberto Gallardo" userId="49a044883f185952" providerId="LiveId" clId="{63247A56-ECD9-47F1-AB6C-B1AD597C31FC}" dt="2023-03-15T00:33:14.344" v="98" actId="1076"/>
          <ac:picMkLst>
            <pc:docMk/>
            <pc:sldMk cId="783739251" sldId="284"/>
            <ac:picMk id="7" creationId="{DDDCA9A3-BCD5-D643-CA7F-7DA96E50F0FA}"/>
          </ac:picMkLst>
        </pc:picChg>
      </pc:sldChg>
      <pc:sldChg chg="addSp modSp mod">
        <pc:chgData name="Roberto Gallardo" userId="49a044883f185952" providerId="LiveId" clId="{63247A56-ECD9-47F1-AB6C-B1AD597C31FC}" dt="2023-03-15T00:33:26.648" v="107" actId="1076"/>
        <pc:sldMkLst>
          <pc:docMk/>
          <pc:sldMk cId="1676122233" sldId="285"/>
        </pc:sldMkLst>
        <pc:picChg chg="add mod">
          <ac:chgData name="Roberto Gallardo" userId="49a044883f185952" providerId="LiveId" clId="{63247A56-ECD9-47F1-AB6C-B1AD597C31FC}" dt="2023-03-15T00:33:26.648" v="107" actId="1076"/>
          <ac:picMkLst>
            <pc:docMk/>
            <pc:sldMk cId="1676122233" sldId="285"/>
            <ac:picMk id="7" creationId="{8E295C52-EDCC-8D52-A5AA-060CBD5C42FE}"/>
          </ac:picMkLst>
        </pc:picChg>
      </pc:sldChg>
      <pc:sldChg chg="addSp modSp mod">
        <pc:chgData name="Roberto Gallardo" userId="49a044883f185952" providerId="LiveId" clId="{63247A56-ECD9-47F1-AB6C-B1AD597C31FC}" dt="2023-03-15T00:33:41.690" v="118" actId="1076"/>
        <pc:sldMkLst>
          <pc:docMk/>
          <pc:sldMk cId="3100398757" sldId="286"/>
        </pc:sldMkLst>
        <pc:picChg chg="add mod">
          <ac:chgData name="Roberto Gallardo" userId="49a044883f185952" providerId="LiveId" clId="{63247A56-ECD9-47F1-AB6C-B1AD597C31FC}" dt="2023-03-15T00:33:41.690" v="118" actId="1076"/>
          <ac:picMkLst>
            <pc:docMk/>
            <pc:sldMk cId="3100398757" sldId="286"/>
            <ac:picMk id="7" creationId="{F1518A9C-720A-19F3-0A92-E5890435354B}"/>
          </ac:picMkLst>
        </pc:picChg>
      </pc:sldChg>
      <pc:sldChg chg="addSp modSp mod">
        <pc:chgData name="Roberto Gallardo" userId="49a044883f185952" providerId="LiveId" clId="{63247A56-ECD9-47F1-AB6C-B1AD597C31FC}" dt="2023-03-15T00:33:54.241" v="126" actId="1076"/>
        <pc:sldMkLst>
          <pc:docMk/>
          <pc:sldMk cId="1546475425" sldId="287"/>
        </pc:sldMkLst>
        <pc:picChg chg="add mod">
          <ac:chgData name="Roberto Gallardo" userId="49a044883f185952" providerId="LiveId" clId="{63247A56-ECD9-47F1-AB6C-B1AD597C31FC}" dt="2023-03-15T00:33:54.241" v="126" actId="1076"/>
          <ac:picMkLst>
            <pc:docMk/>
            <pc:sldMk cId="1546475425" sldId="287"/>
            <ac:picMk id="7" creationId="{A1887DDE-F4A0-62D3-FC71-7998367998B4}"/>
          </ac:picMkLst>
        </pc:picChg>
      </pc:sldChg>
      <pc:sldChg chg="addSp modSp mod">
        <pc:chgData name="Roberto Gallardo" userId="49a044883f185952" providerId="LiveId" clId="{63247A56-ECD9-47F1-AB6C-B1AD597C31FC}" dt="2023-03-15T00:34:27.628" v="148" actId="1076"/>
        <pc:sldMkLst>
          <pc:docMk/>
          <pc:sldMk cId="1380517306" sldId="288"/>
        </pc:sldMkLst>
        <pc:picChg chg="add mod">
          <ac:chgData name="Roberto Gallardo" userId="49a044883f185952" providerId="LiveId" clId="{63247A56-ECD9-47F1-AB6C-B1AD597C31FC}" dt="2023-03-15T00:34:27.628" v="148" actId="1076"/>
          <ac:picMkLst>
            <pc:docMk/>
            <pc:sldMk cId="1380517306" sldId="288"/>
            <ac:picMk id="7" creationId="{46A95FF1-FC5A-79A3-6161-49EB576280F3}"/>
          </ac:picMkLst>
        </pc:picChg>
      </pc:sldChg>
      <pc:sldChg chg="addSp modSp mod">
        <pc:chgData name="Roberto Gallardo" userId="49a044883f185952" providerId="LiveId" clId="{63247A56-ECD9-47F1-AB6C-B1AD597C31FC}" dt="2023-03-15T00:34:42.812" v="159" actId="1076"/>
        <pc:sldMkLst>
          <pc:docMk/>
          <pc:sldMk cId="1388671151" sldId="289"/>
        </pc:sldMkLst>
        <pc:picChg chg="add mod">
          <ac:chgData name="Roberto Gallardo" userId="49a044883f185952" providerId="LiveId" clId="{63247A56-ECD9-47F1-AB6C-B1AD597C31FC}" dt="2023-03-15T00:34:42.812" v="159" actId="1076"/>
          <ac:picMkLst>
            <pc:docMk/>
            <pc:sldMk cId="1388671151" sldId="289"/>
            <ac:picMk id="7" creationId="{7CB0BD9F-C136-4FF2-C1B9-5D8C59850B3F}"/>
          </ac:picMkLst>
        </pc:picChg>
      </pc:sldChg>
      <pc:sldChg chg="addSp modSp mod">
        <pc:chgData name="Roberto Gallardo" userId="49a044883f185952" providerId="LiveId" clId="{63247A56-ECD9-47F1-AB6C-B1AD597C31FC}" dt="2023-03-15T00:35:14.244" v="182" actId="1076"/>
        <pc:sldMkLst>
          <pc:docMk/>
          <pc:sldMk cId="2355376039" sldId="290"/>
        </pc:sldMkLst>
        <pc:picChg chg="add mod">
          <ac:chgData name="Roberto Gallardo" userId="49a044883f185952" providerId="LiveId" clId="{63247A56-ECD9-47F1-AB6C-B1AD597C31FC}" dt="2023-03-15T00:35:14.244" v="182" actId="1076"/>
          <ac:picMkLst>
            <pc:docMk/>
            <pc:sldMk cId="2355376039" sldId="290"/>
            <ac:picMk id="8" creationId="{2CAF1790-D3FF-7DFD-0C37-9C73B62B08D4}"/>
          </ac:picMkLst>
        </pc:picChg>
      </pc:sldChg>
      <pc:sldChg chg="addSp modSp mod">
        <pc:chgData name="Roberto Gallardo" userId="49a044883f185952" providerId="LiveId" clId="{63247A56-ECD9-47F1-AB6C-B1AD597C31FC}" dt="2023-03-15T00:35:33.176" v="194" actId="1076"/>
        <pc:sldMkLst>
          <pc:docMk/>
          <pc:sldMk cId="3757257295" sldId="291"/>
        </pc:sldMkLst>
        <pc:picChg chg="add mod">
          <ac:chgData name="Roberto Gallardo" userId="49a044883f185952" providerId="LiveId" clId="{63247A56-ECD9-47F1-AB6C-B1AD597C31FC}" dt="2023-03-15T00:35:33.176" v="194" actId="1076"/>
          <ac:picMkLst>
            <pc:docMk/>
            <pc:sldMk cId="3757257295" sldId="291"/>
            <ac:picMk id="8" creationId="{6A5F6F1E-1708-7061-B136-B7BDFDF4A6AA}"/>
          </ac:picMkLst>
        </pc:picChg>
      </pc:sldChg>
      <pc:sldChg chg="addSp modSp mod">
        <pc:chgData name="Roberto Gallardo" userId="49a044883f185952" providerId="LiveId" clId="{63247A56-ECD9-47F1-AB6C-B1AD597C31FC}" dt="2023-03-15T00:34:08.781" v="135" actId="1076"/>
        <pc:sldMkLst>
          <pc:docMk/>
          <pc:sldMk cId="1259856727" sldId="292"/>
        </pc:sldMkLst>
        <pc:picChg chg="add mod">
          <ac:chgData name="Roberto Gallardo" userId="49a044883f185952" providerId="LiveId" clId="{63247A56-ECD9-47F1-AB6C-B1AD597C31FC}" dt="2023-03-15T00:34:08.781" v="135" actId="1076"/>
          <ac:picMkLst>
            <pc:docMk/>
            <pc:sldMk cId="1259856727" sldId="292"/>
            <ac:picMk id="7" creationId="{C16A78D0-FC81-6D05-9289-809B8AFC2BC7}"/>
          </ac:picMkLst>
        </pc:picChg>
      </pc:sldChg>
      <pc:sldChg chg="addSp modSp mod">
        <pc:chgData name="Roberto Gallardo" userId="49a044883f185952" providerId="LiveId" clId="{63247A56-ECD9-47F1-AB6C-B1AD597C31FC}" dt="2023-03-15T00:32:06.188" v="51" actId="1076"/>
        <pc:sldMkLst>
          <pc:docMk/>
          <pc:sldMk cId="3324519687" sldId="293"/>
        </pc:sldMkLst>
        <pc:picChg chg="add mod">
          <ac:chgData name="Roberto Gallardo" userId="49a044883f185952" providerId="LiveId" clId="{63247A56-ECD9-47F1-AB6C-B1AD597C31FC}" dt="2023-03-15T00:32:06.188" v="51" actId="1076"/>
          <ac:picMkLst>
            <pc:docMk/>
            <pc:sldMk cId="3324519687" sldId="293"/>
            <ac:picMk id="7" creationId="{00B2F136-D077-A46F-2EF8-2681AFBFA637}"/>
          </ac:picMkLst>
        </pc:picChg>
      </pc:sldChg>
      <pc:sldChg chg="addSp modSp mod">
        <pc:chgData name="Roberto Gallardo" userId="49a044883f185952" providerId="LiveId" clId="{63247A56-ECD9-47F1-AB6C-B1AD597C31FC}" dt="2023-03-15T00:31:36.269" v="33" actId="1076"/>
        <pc:sldMkLst>
          <pc:docMk/>
          <pc:sldMk cId="3256182630" sldId="295"/>
        </pc:sldMkLst>
        <pc:picChg chg="add mod">
          <ac:chgData name="Roberto Gallardo" userId="49a044883f185952" providerId="LiveId" clId="{63247A56-ECD9-47F1-AB6C-B1AD597C31FC}" dt="2023-03-15T00:31:36.269" v="33" actId="1076"/>
          <ac:picMkLst>
            <pc:docMk/>
            <pc:sldMk cId="3256182630" sldId="295"/>
            <ac:picMk id="7" creationId="{790DDD99-ABC6-E095-8252-A38BFD624F3A}"/>
          </ac:picMkLst>
        </pc:picChg>
      </pc:sldChg>
      <pc:sldChg chg="addSp modSp mod">
        <pc:chgData name="Roberto Gallardo" userId="49a044883f185952" providerId="LiveId" clId="{63247A56-ECD9-47F1-AB6C-B1AD597C31FC}" dt="2023-03-15T00:31:52.208" v="43" actId="1037"/>
        <pc:sldMkLst>
          <pc:docMk/>
          <pc:sldMk cId="4057156843" sldId="296"/>
        </pc:sldMkLst>
        <pc:picChg chg="add mod">
          <ac:chgData name="Roberto Gallardo" userId="49a044883f185952" providerId="LiveId" clId="{63247A56-ECD9-47F1-AB6C-B1AD597C31FC}" dt="2023-03-15T00:31:52.208" v="43" actId="1037"/>
          <ac:picMkLst>
            <pc:docMk/>
            <pc:sldMk cId="4057156843" sldId="296"/>
            <ac:picMk id="7" creationId="{26363458-FE80-7E8E-C3B0-D471106BC339}"/>
          </ac:picMkLst>
        </pc:picChg>
      </pc:sldChg>
      <pc:sldChg chg="addSp modSp mod">
        <pc:chgData name="Roberto Gallardo" userId="49a044883f185952" providerId="LiveId" clId="{63247A56-ECD9-47F1-AB6C-B1AD597C31FC}" dt="2023-03-15T00:31:20.212" v="23" actId="1076"/>
        <pc:sldMkLst>
          <pc:docMk/>
          <pc:sldMk cId="2080110827" sldId="297"/>
        </pc:sldMkLst>
        <pc:picChg chg="add mod">
          <ac:chgData name="Roberto Gallardo" userId="49a044883f185952" providerId="LiveId" clId="{63247A56-ECD9-47F1-AB6C-B1AD597C31FC}" dt="2023-03-15T00:31:20.212" v="23" actId="1076"/>
          <ac:picMkLst>
            <pc:docMk/>
            <pc:sldMk cId="2080110827" sldId="297"/>
            <ac:picMk id="6" creationId="{65A98140-947A-7E1C-F54F-E4C6B5ACD73F}"/>
          </ac:picMkLst>
        </pc:picChg>
      </pc:sldChg>
      <pc:sldChg chg="addSp modSp mod">
        <pc:chgData name="Roberto Gallardo" userId="49a044883f185952" providerId="LiveId" clId="{63247A56-ECD9-47F1-AB6C-B1AD597C31FC}" dt="2023-03-15T00:31:02.724" v="16" actId="1076"/>
        <pc:sldMkLst>
          <pc:docMk/>
          <pc:sldMk cId="1532666867" sldId="298"/>
        </pc:sldMkLst>
        <pc:picChg chg="add mod">
          <ac:chgData name="Roberto Gallardo" userId="49a044883f185952" providerId="LiveId" clId="{63247A56-ECD9-47F1-AB6C-B1AD597C31FC}" dt="2023-03-15T00:31:02.724" v="16" actId="1076"/>
          <ac:picMkLst>
            <pc:docMk/>
            <pc:sldMk cId="1532666867" sldId="298"/>
            <ac:picMk id="6" creationId="{586AF416-4347-5A67-42E3-E1CDBDE5EE82}"/>
          </ac:picMkLst>
        </pc:picChg>
      </pc:sldChg>
      <pc:sldChg chg="addSp modSp mod">
        <pc:chgData name="Roberto Gallardo" userId="49a044883f185952" providerId="LiveId" clId="{63247A56-ECD9-47F1-AB6C-B1AD597C31FC}" dt="2023-03-15T00:34:58.396" v="172" actId="1076"/>
        <pc:sldMkLst>
          <pc:docMk/>
          <pc:sldMk cId="1951376777" sldId="299"/>
        </pc:sldMkLst>
        <pc:picChg chg="add mod">
          <ac:chgData name="Roberto Gallardo" userId="49a044883f185952" providerId="LiveId" clId="{63247A56-ECD9-47F1-AB6C-B1AD597C31FC}" dt="2023-03-15T00:34:58.396" v="172" actId="1076"/>
          <ac:picMkLst>
            <pc:docMk/>
            <pc:sldMk cId="1951376777" sldId="299"/>
            <ac:picMk id="7" creationId="{992B12C3-E312-E353-983A-189B86695AE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Yadkin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1018578-229A-F44E-657D-BC21A4A6E881}"/>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6137AB32-8822-4A33-9972-445420DE6429}"/>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2E3900F7-0BEE-192E-5340-ACD3DFE63A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586AF416-4347-5A67-42E3-E1CDBDE5EE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65A98140-947A-7E1C-F54F-E4C6B5ACD7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917CED3-13A8-30A7-C8B6-F2DD0DE4410A}"/>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790DDD99-ABC6-E095-8252-A38BFD624F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59BAD28-1654-080C-E18A-F5B5B5690B60}"/>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26363458-FE80-7E8E-C3B0-D471106BC3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037" y="1432514"/>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5C0028A5-3914-08D1-C388-C7732D9A182E}"/>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00B2F136-D077-A46F-2EF8-2681AFBFA6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E52EA48-9950-63E9-99B0-6964CAFB2DCA}"/>
              </a:ext>
            </a:extLst>
          </p:cNvPr>
          <p:cNvPicPr/>
          <p:nvPr/>
        </p:nvPicPr>
        <p:blipFill>
          <a:blip r:embed="rId2"/>
          <a:stretch>
            <a:fillRect/>
          </a:stretch>
        </p:blipFill>
        <p:spPr>
          <a:xfrm>
            <a:off x="152400" y="1783080"/>
            <a:ext cx="5297356" cy="3799114"/>
          </a:xfrm>
          <a:prstGeom prst="rect">
            <a:avLst/>
          </a:prstGeom>
        </p:spPr>
      </p:pic>
      <p:pic>
        <p:nvPicPr>
          <p:cNvPr id="6" name="Picture 5" descr="Diagram, map&#10;&#10;Description automatically generated">
            <a:extLst>
              <a:ext uri="{FF2B5EF4-FFF2-40B4-BE49-F238E27FC236}">
                <a16:creationId xmlns:a16="http://schemas.microsoft.com/office/drawing/2014/main" id="{2DF64A04-50C2-0040-A4CA-532BD8B0E3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E8F81FD-52C8-131A-0C94-CDFEBED047AD}"/>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CC02B49A-FEB6-E184-5418-44F5A22994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3951203-844B-5885-6B87-48D6E5B9FADA}"/>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B0D868FA-7898-8AE0-A893-F7E9DCF216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7E4A798-8E99-3595-110E-2440CB4A37B0}"/>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DDDCA9A3-BCD5-D643-CA7F-7DA96E50F0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14CA310-7E0F-45DB-F1CF-219532724D76}"/>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8E295C52-EDCC-8D52-A5AA-060CBD5C42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42"/>
            <a:ext cx="6394147" cy="452166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D2AA320-9DF5-084E-8803-25513DAF11FE}"/>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F1518A9C-720A-19F3-0A92-E589043535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935" y="1411683"/>
            <a:ext cx="6396665" cy="452344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214914D-5B19-FCDD-CF5E-49E5ACFA5184}"/>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A1887DDE-F4A0-62D3-FC71-7998367998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CB0186F-58A5-F172-AA6F-E75A5F47F62B}"/>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C16A78D0-FC81-6D05-9289-809B8AFC2B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945" y="1419454"/>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7CAE7D7-8F07-C545-61AB-6A9DEC6E45A7}"/>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46A95FF1-FC5A-79A3-6161-49EB576280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18931"/>
            <a:ext cx="6400801"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9008517-3B2E-1CF6-FA77-F9E3E0A52F3E}"/>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7CB0BD9F-C136-4FF2-C1B9-5D8C59850B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4652D415-3221-0F56-A12B-0F6AB5F73EE5}"/>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992B12C3-E312-E353-983A-189B86695A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0F9ADA75-A9AA-5B80-8FD4-B91FFB50161F}"/>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2CAF1790-D3FF-7DFD-0C37-9C73B62B08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335"/>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10F0B5DD-ECEE-BE43-3484-29E766223658}"/>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020CB729-A625-B05E-68B7-3ADD6C5F2852}"/>
              </a:ext>
            </a:extLst>
          </p:cNvPr>
          <p:cNvPicPr/>
          <p:nvPr/>
        </p:nvPicPr>
        <p:blipFill>
          <a:blip r:embed="rId2"/>
          <a:stretch>
            <a:fillRect/>
          </a:stretch>
        </p:blipFill>
        <p:spPr>
          <a:xfrm>
            <a:off x="161358" y="1777637"/>
            <a:ext cx="5299487" cy="3795849"/>
          </a:xfrm>
          <a:prstGeom prst="rect">
            <a:avLst/>
          </a:prstGeom>
        </p:spPr>
      </p:pic>
      <p:pic>
        <p:nvPicPr>
          <p:cNvPr id="8" name="Picture 7" descr="Diagram, map&#10;&#10;Description automatically generated">
            <a:extLst>
              <a:ext uri="{FF2B5EF4-FFF2-40B4-BE49-F238E27FC236}">
                <a16:creationId xmlns:a16="http://schemas.microsoft.com/office/drawing/2014/main" id="{6A5F6F1E-1708-7061-B136-B7BDFDF4A6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969EBC8B-10BE-04C1-60D2-1B91EAEFAA11}"/>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B7019CE-24CE-2F3E-AA47-D9F08DA9CE46}"/>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1C08EEF-AAE6-2809-F003-56B66E0E62E5}"/>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7159" y="2929328"/>
            <a:ext cx="1198148" cy="1980466"/>
            <a:chOff x="10485745" y="2909845"/>
            <a:chExt cx="1198148" cy="1980466"/>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532355"/>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8</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90984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909845"/>
              <a:ext cx="0" cy="62251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424907"/>
              <a:ext cx="0" cy="46540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44917"/>
            <a:chOff x="2775759" y="2099890"/>
            <a:chExt cx="1198148" cy="244491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998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99890"/>
              <a:ext cx="0" cy="7770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B099D7B2-21DC-2ED7-1842-BAFCE8C240A3}"/>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6683B3AC-B6BA-58B9-F465-923CC954B484}"/>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DD973B0-6C13-2CFD-D89C-0294269F013F}"/>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82EF4AC7-A380-8ADB-6ED3-936D6E383699}"/>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6DF1D1D-F0E3-12E8-933F-27D0C12D4A5F}"/>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287583E-8811-DDC6-3D0E-46734895E1FB}"/>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D1485673-C437-1371-F17F-8086A7399F91}"/>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001114E-2DB0-D8E9-A049-5BE7B0C1F9E4}"/>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37</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67</cp:revision>
  <dcterms:created xsi:type="dcterms:W3CDTF">2022-07-04T13:32:28Z</dcterms:created>
  <dcterms:modified xsi:type="dcterms:W3CDTF">2023-03-15T00:35:41Z</dcterms:modified>
</cp:coreProperties>
</file>